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C43285-6E0C-46E8-A198-C98C53D100B3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370B59-9ABC-44B2-8E98-73F3BDFF5E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628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684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8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66706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17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01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194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0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11928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FD69532B-3292-E4A2-F4E6-604E0BA8F3AC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88689" cy="4500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summary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aphicFrame>
        <p:nvGraphicFramePr>
          <p:cNvPr id="6" name="Table 12">
            <a:extLst>
              <a:ext uri="{FF2B5EF4-FFF2-40B4-BE49-F238E27FC236}">
                <a16:creationId xmlns:a16="http://schemas.microsoft.com/office/drawing/2014/main" id="{D1D2FBF7-E45D-B4ED-EC9A-7CDF4FDB93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315974"/>
              </p:ext>
            </p:extLst>
          </p:nvPr>
        </p:nvGraphicFramePr>
        <p:xfrm>
          <a:off x="3356677" y="2072719"/>
          <a:ext cx="8452736" cy="35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7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5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0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1800"/>
                        </a:spcBef>
                        <a:spcAft>
                          <a:spcPts val="1800"/>
                        </a:spcAft>
                        <a:buClr>
                          <a:schemeClr val="accent4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ic</a:t>
                      </a:r>
                    </a:p>
                  </a:txBody>
                  <a:tcPr marL="157852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597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1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2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2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294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3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3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4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4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5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5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6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6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7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7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8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8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9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bullet_2_time_9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0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bullet_2_time_10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11_topic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" name="Rechteck 43">
            <a:extLst>
              <a:ext uri="{FF2B5EF4-FFF2-40B4-BE49-F238E27FC236}">
                <a16:creationId xmlns:a16="http://schemas.microsoft.com/office/drawing/2014/main" id="{3EB476DF-E72B-3714-A6B3-3DBDAF684797}"/>
              </a:ext>
            </a:extLst>
          </p:cNvPr>
          <p:cNvSpPr>
            <a:spLocks/>
          </p:cNvSpPr>
          <p:nvPr/>
        </p:nvSpPr>
        <p:spPr>
          <a:xfrm>
            <a:off x="3356677" y="1703387"/>
            <a:ext cx="845273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A279F473-4F83-F59B-F58E-7F89D4F7F45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9925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 frames, timeframe, timeframes, agenda, agendas, schedules</a:t>
            </a:r>
          </a:p>
        </p:txBody>
      </p:sp>
    </p:spTree>
    <p:extLst>
      <p:ext uri="{BB962C8B-B14F-4D97-AF65-F5344CB8AC3E}">
        <p14:creationId xmlns:p14="http://schemas.microsoft.com/office/powerpoint/2010/main" val="2377833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263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Times New Roman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2:11:11Z</dcterms:created>
  <dcterms:modified xsi:type="dcterms:W3CDTF">2025-08-27T05:44:07Z</dcterms:modified>
</cp:coreProperties>
</file>